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310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9" d="100"/>
          <a:sy n="79" d="100"/>
        </p:scale>
        <p:origin x="96" y="5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13866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3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469414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202348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96749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6339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5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83076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9906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197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2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D32FC72B-D93E-45CE-AC85-C605B216FE87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 up to 60% of blowing ai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ARK: Air Recovery Kit for Heat Resistant Process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Cost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sation</a:t>
            </a:r>
            <a:r>
              <a:rPr lang="en-US">
                <a:solidFill>
                  <a:srgbClr val="000000"/>
                </a:solidFill>
              </a:rPr>
              <a:t>, Sustainabilit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Series 2 blowers with HR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576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 the air recovery option, 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re than half of the used air is collected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nd converted into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blow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rvice air and used to generate air for the factory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other criteria to consider, is the Excellent integration into machine: The settings linked to the recovery option are recorded into the process recipe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ced investments,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anks to smaller </a:t>
                      </a:r>
                      <a:b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ir compressor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cover up to 60% of the air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umed for the production of heat-set bottle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amount of recovered air is linked to the type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f blowers and depends also on the production conditions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chine rate, number of blowing stations,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blow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d blow pressure, bottle capacity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recovered air could be re-used to generate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blow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ir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etching and nozzle cylinders air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w pressure air out of the machine </a:t>
                      </a:r>
                      <a:b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the blower acts as a LP compressor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minimum required PCC version to install this O&amp;U is V2.02; for prior versions, an update of the PCC is mandatory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239" y="4674759"/>
            <a:ext cx="1128565" cy="1000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hteck 11">
            <a:extLst>
              <a:ext uri="{FF2B5EF4-FFF2-40B4-BE49-F238E27FC236}">
                <a16:creationId xmlns:a16="http://schemas.microsoft.com/office/drawing/2014/main" id="{ABC9FE67-D8D1-4C64-B5B1-543CE2D8EAFE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584633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111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Wingdings</vt:lpstr>
      <vt:lpstr>LIOMT</vt:lpstr>
      <vt:lpstr>think-cell Folie</vt:lpstr>
      <vt:lpstr>Recover up to 60% of blowing ai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4</cp:revision>
  <dcterms:created xsi:type="dcterms:W3CDTF">2014-05-22T13:23:46Z</dcterms:created>
  <dcterms:modified xsi:type="dcterms:W3CDTF">2019-10-10T13:0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3:03:31.3293108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